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10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723258096172712E-2"/>
          <c:y val="8.2443400256300731E-2"/>
          <c:w val="0.84514229636898919"/>
          <c:h val="0.835113199487398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529-4BA4-8446-20AE390D3B26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529-4BA4-8446-20AE390D3B26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529-4BA4-8446-20AE390D3B26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529-4BA4-8446-20AE390D3B26}"/>
                </c:ext>
              </c:extLst>
            </c:dLbl>
            <c:dLbl>
              <c:idx val="4"/>
              <c:layout>
                <c:manualLayout>
                  <c:x val="0"/>
                  <c:y val="-4.2716787697565144E-4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529-4BA4-8446-20AE390D3B26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529-4BA4-8446-20AE390D3B26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529-4BA4-8446-20AE390D3B2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323</c:v>
                </c:pt>
                <c:pt idx="1">
                  <c:v>330</c:v>
                </c:pt>
                <c:pt idx="2">
                  <c:v>350</c:v>
                </c:pt>
                <c:pt idx="3">
                  <c:v>360</c:v>
                </c:pt>
                <c:pt idx="4">
                  <c:v>377</c:v>
                </c:pt>
                <c:pt idx="5">
                  <c:v>380</c:v>
                </c:pt>
                <c:pt idx="7">
                  <c:v>4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529-4BA4-8446-20AE390D3B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20857760"/>
        <c:axId val="1"/>
      </c:barChart>
      <c:lineChart>
        <c:grouping val="standard"/>
        <c:varyColors val="0"/>
        <c:ser>
          <c:idx val="1"/>
          <c:order val="1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F529-4BA4-8446-20AE390D3B26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F529-4BA4-8446-20AE390D3B26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F529-4BA4-8446-20AE390D3B26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F529-4BA4-8446-20AE390D3B26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F529-4BA4-8446-20AE390D3B26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F529-4BA4-8446-20AE390D3B26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F529-4BA4-8446-20AE390D3B26}"/>
              </c:ext>
            </c:extLst>
          </c:dPt>
          <c:val>
            <c:numRef>
              <c:f>Sheet1!$A$2:$H$2</c:f>
              <c:numCache>
                <c:formatCode>General</c:formatCode>
                <c:ptCount val="8"/>
                <c:pt idx="0">
                  <c:v>36</c:v>
                </c:pt>
                <c:pt idx="1">
                  <c:v>38</c:v>
                </c:pt>
                <c:pt idx="2">
                  <c:v>39</c:v>
                </c:pt>
                <c:pt idx="3">
                  <c:v>40</c:v>
                </c:pt>
                <c:pt idx="4">
                  <c:v>42.22</c:v>
                </c:pt>
                <c:pt idx="5">
                  <c:v>41.63</c:v>
                </c:pt>
                <c:pt idx="6">
                  <c:v>49.984999999999999</c:v>
                </c:pt>
                <c:pt idx="7">
                  <c:v>58.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F529-4BA4-8446-20AE390D3B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3208577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20857760"/>
        <c:crosses val="min"/>
        <c:crossBetween val="between"/>
        <c:majorUnit val="100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6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0&quot;k&quot;;&quot;-&quot;0&quot;k&quot;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"/>
        <c:crosses val="max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0D4B39-5CC1-462A-B010-D8F6C41479FC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3A89DE-B40F-44B7-8854-BB7C797E607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243993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49121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369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2170790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1494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185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70236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722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486667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image" Target="../media/image4.emf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oleObject" Target="../embeddings/oleObject5.bin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notesSlide" Target="../notesSlides/notesSlide1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slideLayout" Target="../slideLayouts/slideLayout5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25" imgW="349" imgH="350" progId="TCLayout.ActiveDocument.1">
                  <p:embed/>
                </p:oleObj>
              </mc:Choice>
              <mc:Fallback>
                <p:oleObj name="think-cell 幻灯片" r:id="rId2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graphicFrame>
        <p:nvGraphicFramePr>
          <p:cNvPr id="41" name="Chart 3">
            <a:extLst>
              <a:ext uri="{FF2B5EF4-FFF2-40B4-BE49-F238E27FC236}">
                <a16:creationId xmlns:a16="http://schemas.microsoft.com/office/drawing/2014/main" id="{D425D054-C035-48F6-BF5D-338436D26639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241300" y="2009775"/>
          <a:ext cx="8088313" cy="3716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 useBgFill="1">
        <p:nvSpPr>
          <p:cNvPr id="22" name="任意多边形: 形状 21">
            <a:extLst>
              <a:ext uri="{FF2B5EF4-FFF2-40B4-BE49-F238E27FC236}">
                <a16:creationId xmlns:a16="http://schemas.microsoft.com/office/drawing/2014/main" id="{A6225121-DC0F-413C-A7AE-B0D9ABF4A959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383338" y="2709863"/>
            <a:ext cx="79376" cy="247651"/>
          </a:xfrm>
          <a:custGeom>
            <a:avLst/>
            <a:gdLst/>
            <a:ahLst/>
            <a:cxnLst/>
            <a:rect l="0" t="0" r="0" b="0"/>
            <a:pathLst>
              <a:path w="79376" h="247651">
                <a:moveTo>
                  <a:pt x="79375" y="0"/>
                </a:moveTo>
                <a:lnTo>
                  <a:pt x="57150" y="82550"/>
                </a:lnTo>
                <a:lnTo>
                  <a:pt x="79375" y="165100"/>
                </a:lnTo>
                <a:lnTo>
                  <a:pt x="57150" y="247650"/>
                </a:lnTo>
                <a:lnTo>
                  <a:pt x="0" y="247650"/>
                </a:lnTo>
                <a:lnTo>
                  <a:pt x="22225" y="165100"/>
                </a:lnTo>
                <a:lnTo>
                  <a:pt x="0" y="82550"/>
                </a:lnTo>
                <a:lnTo>
                  <a:pt x="22225" y="0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 useBgFill="1">
        <p:nvSpPr>
          <p:cNvPr id="25" name="任意多边形: 形状 24">
            <a:extLst>
              <a:ext uri="{FF2B5EF4-FFF2-40B4-BE49-F238E27FC236}">
                <a16:creationId xmlns:a16="http://schemas.microsoft.com/office/drawing/2014/main" id="{B0F4A3DE-7CA6-4539-B158-DDACCF5B6420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6375400" y="5346700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1630E958-FEEB-4E54-98AC-9A60F637247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383338" y="2709863"/>
            <a:ext cx="22226" cy="247651"/>
          </a:xfrm>
          <a:custGeom>
            <a:avLst/>
            <a:gdLst/>
            <a:ahLst/>
            <a:cxnLst/>
            <a:rect l="0" t="0" r="0" b="0"/>
            <a:pathLst>
              <a:path w="22226" h="247651">
                <a:moveTo>
                  <a:pt x="22225" y="0"/>
                </a:moveTo>
                <a:lnTo>
                  <a:pt x="0" y="82550"/>
                </a:lnTo>
                <a:lnTo>
                  <a:pt x="22225" y="165100"/>
                </a:lnTo>
                <a:lnTo>
                  <a:pt x="0" y="247650"/>
                </a:lnTo>
              </a:path>
            </a:pathLst>
          </a:custGeom>
          <a:noFill/>
          <a:ln w="9525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AB8F22AB-A583-4FC9-BDE0-97171BD93DA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6440488" y="2709863"/>
            <a:ext cx="22226" cy="247651"/>
          </a:xfrm>
          <a:custGeom>
            <a:avLst/>
            <a:gdLst/>
            <a:ahLst/>
            <a:cxnLst/>
            <a:rect l="0" t="0" r="0" b="0"/>
            <a:pathLst>
              <a:path w="22226" h="247651">
                <a:moveTo>
                  <a:pt x="22225" y="0"/>
                </a:moveTo>
                <a:lnTo>
                  <a:pt x="0" y="82550"/>
                </a:lnTo>
                <a:lnTo>
                  <a:pt x="22225" y="165100"/>
                </a:lnTo>
                <a:lnTo>
                  <a:pt x="0" y="247650"/>
                </a:lnTo>
              </a:path>
            </a:pathLst>
          </a:custGeom>
          <a:noFill/>
          <a:ln w="9525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16280FF3-F801-4D29-AAAD-7E60345052F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6375400" y="534670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4" name="任意多边形: 形状 23">
            <a:extLst>
              <a:ext uri="{FF2B5EF4-FFF2-40B4-BE49-F238E27FC236}">
                <a16:creationId xmlns:a16="http://schemas.microsoft.com/office/drawing/2014/main" id="{1E7335D0-760C-4B73-9A99-CA15874B74D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6432550" y="534670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91" name="Text Placeholder 2">
            <a:extLst>
              <a:ext uri="{FF2B5EF4-FFF2-40B4-BE49-F238E27FC236}">
                <a16:creationId xmlns:a16="http://schemas.microsoft.com/office/drawing/2014/main" id="{3C1B72CD-106B-1679-5293-107D452D6676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65125" y="1854200"/>
            <a:ext cx="739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evenue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84" name="Text Placeholder 2">
            <a:extLst>
              <a:ext uri="{FF2B5EF4-FFF2-40B4-BE49-F238E27FC236}">
                <a16:creationId xmlns:a16="http://schemas.microsoft.com/office/drawing/2014/main" id="{6C7586F8-0E71-7166-E4F0-148A055D40F4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1063625" y="5478463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2ED978D-EC19-4287-88D4-A0E290584494}" type="datetime'''''''''2''''''''''0''''''2''4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85" name="Text Placeholder 2">
            <a:extLst>
              <a:ext uri="{FF2B5EF4-FFF2-40B4-BE49-F238E27FC236}">
                <a16:creationId xmlns:a16="http://schemas.microsoft.com/office/drawing/2014/main" id="{091C4534-0286-767C-C10B-9FF2774D86CA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1919288" y="5478463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58E7521-6281-45DD-8C4A-D64979EC87C3}" type="datetime'2''''''''''''''''''''''0''''''''''''''''2''''''''''''''5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86" name="Text Placeholder 2">
            <a:extLst>
              <a:ext uri="{FF2B5EF4-FFF2-40B4-BE49-F238E27FC236}">
                <a16:creationId xmlns:a16="http://schemas.microsoft.com/office/drawing/2014/main" id="{EF8B3CB3-18BE-BE6E-D9AE-16635A8E12F4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2774950" y="5478463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4B532D7-F1C6-46AF-BA65-1EBD365E1339}" type="datetime'''2''''''''''''0''''2''''6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6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87" name="Text Placeholder 2">
            <a:extLst>
              <a:ext uri="{FF2B5EF4-FFF2-40B4-BE49-F238E27FC236}">
                <a16:creationId xmlns:a16="http://schemas.microsoft.com/office/drawing/2014/main" id="{E4709AE3-FA28-EE94-4F64-02DDC3711AA1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3635375" y="5478463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4DAC3A4-F81F-4A55-8AD9-2EDC697AA42C}" type="datetime'''''''''''''''''''2''0''''''''''''2''7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7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88" name="Text Placeholder 2">
            <a:extLst>
              <a:ext uri="{FF2B5EF4-FFF2-40B4-BE49-F238E27FC236}">
                <a16:creationId xmlns:a16="http://schemas.microsoft.com/office/drawing/2014/main" id="{42D055F2-3F18-8EE2-A047-1DAA69218ED8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481513" y="5478463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95EF639-8FFD-40BE-ABF3-901FF963FF70}" type="datetime'''''''2''''''''''''''''''''''''''''''0''''''28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8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89" name="Text Placeholder 2">
            <a:extLst>
              <a:ext uri="{FF2B5EF4-FFF2-40B4-BE49-F238E27FC236}">
                <a16:creationId xmlns:a16="http://schemas.microsoft.com/office/drawing/2014/main" id="{D13451D5-0AD1-BEEB-6F45-C9449DAAD94B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5338763" y="5478463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B8D338E-88AF-49A6-B895-E23C480473A9}" type="datetime'''''''''''''20''''''''''''''''''''2''''''9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9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90" name="Text Placeholder 2">
            <a:extLst>
              <a:ext uri="{FF2B5EF4-FFF2-40B4-BE49-F238E27FC236}">
                <a16:creationId xmlns:a16="http://schemas.microsoft.com/office/drawing/2014/main" id="{6FFB7761-1A1B-9E1F-5C79-864E6E0B4DD4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7046913" y="5478463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E171E5F-C881-4CAB-A69B-05C7C6C15D52}" type="datetime'''''''''2''''''''''''''0''''''3''''''''''''''''''''5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3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593" name="Straight Connector 592">
            <a:extLst>
              <a:ext uri="{FF2B5EF4-FFF2-40B4-BE49-F238E27FC236}">
                <a16:creationId xmlns:a16="http://schemas.microsoft.com/office/drawing/2014/main" id="{62E0C461-9693-7946-674B-530A6351C0A5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gray">
          <a:xfrm>
            <a:off x="3097213" y="5872163"/>
            <a:ext cx="3302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4" name="Rectangle 593">
            <a:extLst>
              <a:ext uri="{FF2B5EF4-FFF2-40B4-BE49-F238E27FC236}">
                <a16:creationId xmlns:a16="http://schemas.microsoft.com/office/drawing/2014/main" id="{1640F1A2-3EDB-3748-4A5B-410F4F43EAAB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4538663" y="577850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95" name="Oval 594">
            <a:extLst>
              <a:ext uri="{FF2B5EF4-FFF2-40B4-BE49-F238E27FC236}">
                <a16:creationId xmlns:a16="http://schemas.microsoft.com/office/drawing/2014/main" id="{3CE4BCE5-AA7A-99CD-0BD3-9CE5CAC14568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3217863" y="5827713"/>
            <a:ext cx="88900" cy="88900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96" name="Rectangle 27">
            <a:extLst>
              <a:ext uri="{FF2B5EF4-FFF2-40B4-BE49-F238E27FC236}">
                <a16:creationId xmlns:a16="http://schemas.microsoft.com/office/drawing/2014/main" id="{90A1D2CC-3941-472F-AB7E-EDAF932207E5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3487737" y="5773738"/>
            <a:ext cx="8509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97" name="Rectangle 27">
            <a:extLst>
              <a:ext uri="{FF2B5EF4-FFF2-40B4-BE49-F238E27FC236}">
                <a16:creationId xmlns:a16="http://schemas.microsoft.com/office/drawing/2014/main" id="{41115868-208E-C308-C2F0-A5346352BBED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4840288" y="5773738"/>
            <a:ext cx="7397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2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38FE20FD-B84E-DFB4-8A59-2CB96687B10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56723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hink-cell, chart, charts, graph, graphs, line, lines, column, columns, bar, bars, comment</a:t>
            </a:r>
          </a:p>
        </p:txBody>
      </p:sp>
      <p:sp>
        <p:nvSpPr>
          <p:cNvPr id="2" name="Rechteck 137">
            <a:extLst>
              <a:ext uri="{FF2B5EF4-FFF2-40B4-BE49-F238E27FC236}">
                <a16:creationId xmlns:a16="http://schemas.microsoft.com/office/drawing/2014/main" id="{952525E9-2D5B-D325-48D8-82FB6738989E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]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3" name="tc_columnheader">
            <a:extLst>
              <a:ext uri="{FF2B5EF4-FFF2-40B4-BE49-F238E27FC236}">
                <a16:creationId xmlns:a16="http://schemas.microsoft.com/office/drawing/2014/main" id="{CE9EE698-16AD-19AA-0CF6-32071BB31AAB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7" name="tc_columnhead">
              <a:extLst>
                <a:ext uri="{FF2B5EF4-FFF2-40B4-BE49-F238E27FC236}">
                  <a16:creationId xmlns:a16="http://schemas.microsoft.com/office/drawing/2014/main" id="{52C264F1-5232-9595-23B5-49AC446CA1FA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chart_title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8" name="tc_columnheadline">
              <a:extLst>
                <a:ext uri="{FF2B5EF4-FFF2-40B4-BE49-F238E27FC236}">
                  <a16:creationId xmlns:a16="http://schemas.microsoft.com/office/drawing/2014/main" id="{D8481B47-8F1B-C06D-D6F9-8F7FCEEE7F17}"/>
                </a:ext>
              </a:extLst>
            </p:cNvPr>
            <p:cNvCxnSpPr>
              <a:cxnSpLocks/>
              <a:stCxn id="7" idx="4"/>
              <a:endCxn id="7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tc_columnheader">
            <a:extLst>
              <a:ext uri="{FF2B5EF4-FFF2-40B4-BE49-F238E27FC236}">
                <a16:creationId xmlns:a16="http://schemas.microsoft.com/office/drawing/2014/main" id="{CDD55F87-BC89-ED83-4E5E-A6393182EB06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11" name="tc_columnhead">
              <a:extLst>
                <a:ext uri="{FF2B5EF4-FFF2-40B4-BE49-F238E27FC236}">
                  <a16:creationId xmlns:a16="http://schemas.microsoft.com/office/drawing/2014/main" id="{4DE545AD-E3AC-5D7C-2E15-3E3930638EB6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12" name="tc_columnheadline">
              <a:extLst>
                <a:ext uri="{FF2B5EF4-FFF2-40B4-BE49-F238E27FC236}">
                  <a16:creationId xmlns:a16="http://schemas.microsoft.com/office/drawing/2014/main" id="{68FE26C4-4B51-0912-187E-A92B94368258}"/>
                </a:ext>
              </a:extLst>
            </p:cNvPr>
            <p:cNvCxnSpPr>
              <a:cxnSpLocks/>
              <a:stCxn id="11" idx="4"/>
              <a:endCxn id="11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8">
            <a:extLst>
              <a:ext uri="{FF2B5EF4-FFF2-40B4-BE49-F238E27FC236}">
                <a16:creationId xmlns:a16="http://schemas.microsoft.com/office/drawing/2014/main" id="{C18A1CBC-96D4-962A-AE46-AB9AC6E44AA0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chart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the chart's internal datashe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CAGR arrows, difference arrows)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the chart or a chart feature to open the context menu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the chart or a feature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C13E5EBD-2B79-491E-B565-0ACF24CCCFED}"/>
              </a:ext>
            </a:extLst>
          </p:cNvPr>
          <p:cNvSpPr txBox="1"/>
          <p:nvPr/>
        </p:nvSpPr>
        <p:spPr>
          <a:xfrm>
            <a:off x="5476126" y="597582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rgbClr val="575757"/>
                </a:solidFill>
              </a:rPr>
              <a:t>请手动填入图表内数据</a:t>
            </a:r>
          </a:p>
        </p:txBody>
      </p:sp>
    </p:spTree>
    <p:extLst>
      <p:ext uri="{BB962C8B-B14F-4D97-AF65-F5344CB8AC3E}">
        <p14:creationId xmlns:p14="http://schemas.microsoft.com/office/powerpoint/2010/main" val="7749944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hoZbFBGFnJjYc19u_RZ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jWCe_GMS4HtOx5476k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F41wp7DTcv_f3fiDwG6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4ucgs4oW90WcYLdroXr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8B.lhKEKR3VtLezbGY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lQBYQsvbU74HNAbT4I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YhEjBYJBSzM7LFVao7A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5S.k3cpzyW_qQf.nzaM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vAxPO2.yD28VKZuQm8Z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Ph3IAqH4yboMh4A_i_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.iPxSMCfyF3JagnF_wK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kESdnO.a9dRrl1w5l5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IFIP7jraJf7Q2IejWtO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xQEAdmGa60kt8lTguK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KW.7IyqCO2AjAVD1fwg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M_jmbxTv4GuLsEyQCT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bxYvN726axYtghicNV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xncLa3ABortthh6a8l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KnOojlj8QgYd1Kok6Z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z_YdCxpM3.vsmTeY5E3Q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48</Words>
  <Application>Microsoft Office PowerPoint</Application>
  <PresentationFormat>宽屏</PresentationFormat>
  <Paragraphs>2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10T07:01:10Z</dcterms:created>
  <dcterms:modified xsi:type="dcterms:W3CDTF">2025-09-10T07:02:19Z</dcterms:modified>
</cp:coreProperties>
</file>